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</p:sldMasterIdLst>
  <p:notesMasterIdLst>
    <p:notesMasterId r:id="rId6"/>
  </p:notesMasterIdLst>
  <p:sldIdLst>
    <p:sldId id="163715547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3792" autoAdjust="0"/>
  </p:normalViewPr>
  <p:slideViewPr>
    <p:cSldViewPr snapToGrid="0">
      <p:cViewPr varScale="1">
        <p:scale>
          <a:sx n="81" d="100"/>
          <a:sy n="81" d="100"/>
        </p:scale>
        <p:origin x="75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al, Partha (Transformation Organization)" userId="1c326c88-08f3-446d-876e-9f8a0c1ec080" providerId="ADAL" clId="{11FF3627-9DEA-493D-9FB8-44509A18FDE6}"/>
    <pc:docChg chg="delSld">
      <pc:chgData name="Baral, Partha (Transformation Organization)" userId="1c326c88-08f3-446d-876e-9f8a0c1ec080" providerId="ADAL" clId="{11FF3627-9DEA-493D-9FB8-44509A18FDE6}" dt="2021-01-11T02:06:54.828" v="1" actId="2696"/>
      <pc:docMkLst>
        <pc:docMk/>
      </pc:docMkLst>
      <pc:sldChg chg="del">
        <pc:chgData name="Baral, Partha (Transformation Organization)" userId="1c326c88-08f3-446d-876e-9f8a0c1ec080" providerId="ADAL" clId="{11FF3627-9DEA-493D-9FB8-44509A18FDE6}" dt="2021-01-11T02:06:54.673" v="0" actId="2696"/>
        <pc:sldMkLst>
          <pc:docMk/>
          <pc:sldMk cId="3807589187" sldId="1637155478"/>
        </pc:sldMkLst>
      </pc:sldChg>
      <pc:sldChg chg="del">
        <pc:chgData name="Baral, Partha (Transformation Organization)" userId="1c326c88-08f3-446d-876e-9f8a0c1ec080" providerId="ADAL" clId="{11FF3627-9DEA-493D-9FB8-44509A18FDE6}" dt="2021-01-11T02:06:54.828" v="1" actId="2696"/>
        <pc:sldMkLst>
          <pc:docMk/>
          <pc:sldMk cId="1815618114" sldId="1637155479"/>
        </pc:sldMkLst>
      </pc:sldChg>
    </pc:docChg>
  </pc:docChgLst>
  <pc:docChgLst>
    <pc:chgData name="Baral, Partha (Transformation Organization)" userId="1c326c88-08f3-446d-876e-9f8a0c1ec080" providerId="ADAL" clId="{4AF47F8C-4D02-475B-BCB6-94F85FB552D2}"/>
    <pc:docChg chg="custSel delSld modSld delMainMaster modMainMaster">
      <pc:chgData name="Baral, Partha (Transformation Organization)" userId="1c326c88-08f3-446d-876e-9f8a0c1ec080" providerId="ADAL" clId="{4AF47F8C-4D02-475B-BCB6-94F85FB552D2}" dt="2021-01-11T02:05:13.148" v="25" actId="1076"/>
      <pc:docMkLst>
        <pc:docMk/>
      </pc:docMkLst>
      <pc:sldChg chg="del">
        <pc:chgData name="Baral, Partha (Transformation Organization)" userId="1c326c88-08f3-446d-876e-9f8a0c1ec080" providerId="ADAL" clId="{4AF47F8C-4D02-475B-BCB6-94F85FB552D2}" dt="2021-01-11T02:02:29.535" v="0" actId="2696"/>
        <pc:sldMkLst>
          <pc:docMk/>
          <pc:sldMk cId="3831815984" sldId="1637155463"/>
        </pc:sldMkLst>
      </pc:sldChg>
      <pc:sldChg chg="modSp">
        <pc:chgData name="Baral, Partha (Transformation Organization)" userId="1c326c88-08f3-446d-876e-9f8a0c1ec080" providerId="ADAL" clId="{4AF47F8C-4D02-475B-BCB6-94F85FB552D2}" dt="2021-01-11T02:05:13.148" v="25" actId="1076"/>
        <pc:sldMkLst>
          <pc:docMk/>
          <pc:sldMk cId="4138134404" sldId="1637155477"/>
        </pc:sldMkLst>
        <pc:graphicFrameChg chg="mod">
          <ac:chgData name="Baral, Partha (Transformation Organization)" userId="1c326c88-08f3-446d-876e-9f8a0c1ec080" providerId="ADAL" clId="{4AF47F8C-4D02-475B-BCB6-94F85FB552D2}" dt="2021-01-11T02:05:13.148" v="25" actId="1076"/>
          <ac:graphicFrameMkLst>
            <pc:docMk/>
            <pc:sldMk cId="4138134404" sldId="1637155477"/>
            <ac:graphicFrameMk id="3" creationId="{3ECB8B61-89C7-40A2-81F1-E72B2FBB3BC2}"/>
          </ac:graphicFrameMkLst>
        </pc:graphicFrameChg>
      </pc:sldChg>
      <pc:sldMasterChg chg="del delSldLayout">
        <pc:chgData name="Baral, Partha (Transformation Organization)" userId="1c326c88-08f3-446d-876e-9f8a0c1ec080" providerId="ADAL" clId="{4AF47F8C-4D02-475B-BCB6-94F85FB552D2}" dt="2021-01-11T02:03:27.894" v="15" actId="2696"/>
        <pc:sldMasterMkLst>
          <pc:docMk/>
          <pc:sldMasterMk cId="1586269502" sldId="2147483660"/>
        </pc:sldMasterMkLst>
        <pc:sldLayoutChg chg="del">
          <pc:chgData name="Baral, Partha (Transformation Organization)" userId="1c326c88-08f3-446d-876e-9f8a0c1ec080" providerId="ADAL" clId="{4AF47F8C-4D02-475B-BCB6-94F85FB552D2}" dt="2021-01-11T02:03:21.298" v="3" actId="2696"/>
          <pc:sldLayoutMkLst>
            <pc:docMk/>
            <pc:sldMasterMk cId="1586269502" sldId="2147483660"/>
            <pc:sldLayoutMk cId="2136929560" sldId="2147483661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298" v="4" actId="2696"/>
          <pc:sldLayoutMkLst>
            <pc:docMk/>
            <pc:sldMasterMk cId="1586269502" sldId="2147483660"/>
            <pc:sldLayoutMk cId="4224632539" sldId="2147483662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298" v="5" actId="2696"/>
          <pc:sldLayoutMkLst>
            <pc:docMk/>
            <pc:sldMasterMk cId="1586269502" sldId="2147483660"/>
            <pc:sldLayoutMk cId="3996765838" sldId="2147483663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298" v="6" actId="2696"/>
          <pc:sldLayoutMkLst>
            <pc:docMk/>
            <pc:sldMasterMk cId="1586269502" sldId="2147483660"/>
            <pc:sldLayoutMk cId="1180400599" sldId="2147483664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298" v="7" actId="2696"/>
          <pc:sldLayoutMkLst>
            <pc:docMk/>
            <pc:sldMasterMk cId="1586269502" sldId="2147483660"/>
            <pc:sldLayoutMk cId="2808196971" sldId="2147483665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298" v="8" actId="2696"/>
          <pc:sldLayoutMkLst>
            <pc:docMk/>
            <pc:sldMasterMk cId="1586269502" sldId="2147483660"/>
            <pc:sldLayoutMk cId="1988702514" sldId="2147483666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298" v="9" actId="2696"/>
          <pc:sldLayoutMkLst>
            <pc:docMk/>
            <pc:sldMasterMk cId="1586269502" sldId="2147483660"/>
            <pc:sldLayoutMk cId="3990511432" sldId="2147483667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313" v="10" actId="2696"/>
          <pc:sldLayoutMkLst>
            <pc:docMk/>
            <pc:sldMasterMk cId="1586269502" sldId="2147483660"/>
            <pc:sldLayoutMk cId="4078266824" sldId="2147483668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313" v="11" actId="2696"/>
          <pc:sldLayoutMkLst>
            <pc:docMk/>
            <pc:sldMasterMk cId="1586269502" sldId="2147483660"/>
            <pc:sldLayoutMk cId="1449987785" sldId="2147483669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313" v="12" actId="2696"/>
          <pc:sldLayoutMkLst>
            <pc:docMk/>
            <pc:sldMasterMk cId="1586269502" sldId="2147483660"/>
            <pc:sldLayoutMk cId="771564284" sldId="2147483670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313" v="13" actId="2696"/>
          <pc:sldLayoutMkLst>
            <pc:docMk/>
            <pc:sldMasterMk cId="1586269502" sldId="2147483660"/>
            <pc:sldLayoutMk cId="2923820331" sldId="2147483671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313" v="14" actId="2696"/>
          <pc:sldLayoutMkLst>
            <pc:docMk/>
            <pc:sldMasterMk cId="1586269502" sldId="2147483660"/>
            <pc:sldLayoutMk cId="2935683080" sldId="2147483672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21.287" v="2" actId="2696"/>
          <pc:sldLayoutMkLst>
            <pc:docMk/>
            <pc:sldMasterMk cId="1586269502" sldId="2147483660"/>
            <pc:sldLayoutMk cId="1155595903" sldId="2147483673"/>
          </pc:sldLayoutMkLst>
        </pc:sldLayoutChg>
      </pc:sldMasterChg>
      <pc:sldMasterChg chg="addSp delSp delSldLayout modSldLayout">
        <pc:chgData name="Baral, Partha (Transformation Organization)" userId="1c326c88-08f3-446d-876e-9f8a0c1ec080" providerId="ADAL" clId="{4AF47F8C-4D02-475B-BCB6-94F85FB552D2}" dt="2021-01-11T02:05:03.111" v="24"/>
        <pc:sldMasterMkLst>
          <pc:docMk/>
          <pc:sldMasterMk cId="3519943653" sldId="2147483679"/>
        </pc:sldMasterMkLst>
        <pc:spChg chg="del">
          <ac:chgData name="Baral, Partha (Transformation Organization)" userId="1c326c88-08f3-446d-876e-9f8a0c1ec080" providerId="ADAL" clId="{4AF47F8C-4D02-475B-BCB6-94F85FB552D2}" dt="2021-01-11T02:05:02.719" v="23" actId="478"/>
          <ac:spMkLst>
            <pc:docMk/>
            <pc:sldMasterMk cId="3519943653" sldId="2147483679"/>
            <ac:spMk id="11" creationId="{00000000-0000-0000-0000-000000000000}"/>
          </ac:spMkLst>
        </pc:spChg>
        <pc:grpChg chg="add">
          <ac:chgData name="Baral, Partha (Transformation Organization)" userId="1c326c88-08f3-446d-876e-9f8a0c1ec080" providerId="ADAL" clId="{4AF47F8C-4D02-475B-BCB6-94F85FB552D2}" dt="2021-01-11T02:05:03.111" v="24"/>
          <ac:grpSpMkLst>
            <pc:docMk/>
            <pc:sldMasterMk cId="3519943653" sldId="2147483679"/>
            <ac:grpSpMk id="10" creationId="{F972C57C-68EE-4057-808B-383596351EA1}"/>
          </ac:grpSpMkLst>
        </pc:grpChg>
        <pc:sldLayoutChg chg="addSp delSp">
          <pc:chgData name="Baral, Partha (Transformation Organization)" userId="1c326c88-08f3-446d-876e-9f8a0c1ec080" providerId="ADAL" clId="{4AF47F8C-4D02-475B-BCB6-94F85FB552D2}" dt="2021-01-11T02:04:39.797" v="17"/>
          <pc:sldLayoutMkLst>
            <pc:docMk/>
            <pc:sldMasterMk cId="3519943653" sldId="2147483679"/>
            <pc:sldLayoutMk cId="3336720146" sldId="2147483680"/>
          </pc:sldLayoutMkLst>
          <pc:spChg chg="del">
            <ac:chgData name="Baral, Partha (Transformation Organization)" userId="1c326c88-08f3-446d-876e-9f8a0c1ec080" providerId="ADAL" clId="{4AF47F8C-4D02-475B-BCB6-94F85FB552D2}" dt="2021-01-11T02:04:38.694" v="16" actId="478"/>
            <ac:spMkLst>
              <pc:docMk/>
              <pc:sldMasterMk cId="3519943653" sldId="2147483679"/>
              <pc:sldLayoutMk cId="3336720146" sldId="2147483680"/>
              <ac:spMk id="9" creationId="{00000000-0000-0000-0000-000000000000}"/>
            </ac:spMkLst>
          </pc:spChg>
          <pc:grpChg chg="add">
            <ac:chgData name="Baral, Partha (Transformation Organization)" userId="1c326c88-08f3-446d-876e-9f8a0c1ec080" providerId="ADAL" clId="{4AF47F8C-4D02-475B-BCB6-94F85FB552D2}" dt="2021-01-11T02:04:39.797" v="17"/>
            <ac:grpSpMkLst>
              <pc:docMk/>
              <pc:sldMasterMk cId="3519943653" sldId="2147483679"/>
              <pc:sldLayoutMk cId="3336720146" sldId="2147483680"/>
              <ac:grpSpMk id="8" creationId="{D0C76D9A-9B03-4343-AD7D-929CD7D56B38}"/>
            </ac:grpSpMkLst>
          </pc:grpChg>
        </pc:sldLayoutChg>
        <pc:sldLayoutChg chg="del">
          <pc:chgData name="Baral, Partha (Transformation Organization)" userId="1c326c88-08f3-446d-876e-9f8a0c1ec080" providerId="ADAL" clId="{4AF47F8C-4D02-475B-BCB6-94F85FB552D2}" dt="2021-01-11T02:04:43.406" v="18" actId="2696"/>
          <pc:sldLayoutMkLst>
            <pc:docMk/>
            <pc:sldMasterMk cId="3519943653" sldId="2147483679"/>
            <pc:sldLayoutMk cId="2037927837" sldId="2147483681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4:51.046" v="19" actId="2696"/>
          <pc:sldLayoutMkLst>
            <pc:docMk/>
            <pc:sldMasterMk cId="3519943653" sldId="2147483679"/>
            <pc:sldLayoutMk cId="3468748907" sldId="2147483683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4:51.061" v="20" actId="2696"/>
          <pc:sldLayoutMkLst>
            <pc:docMk/>
            <pc:sldMasterMk cId="3519943653" sldId="2147483679"/>
            <pc:sldLayoutMk cId="3630295394" sldId="2147483684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3:06.693" v="1" actId="2696"/>
          <pc:sldLayoutMkLst>
            <pc:docMk/>
            <pc:sldMasterMk cId="3519943653" sldId="2147483679"/>
            <pc:sldLayoutMk cId="3085338378" sldId="2147483685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4:54.346" v="21" actId="2696"/>
          <pc:sldLayoutMkLst>
            <pc:docMk/>
            <pc:sldMasterMk cId="3519943653" sldId="2147483679"/>
            <pc:sldLayoutMk cId="2799319959" sldId="2147483686"/>
          </pc:sldLayoutMkLst>
        </pc:sldLayoutChg>
        <pc:sldLayoutChg chg="del">
          <pc:chgData name="Baral, Partha (Transformation Organization)" userId="1c326c88-08f3-446d-876e-9f8a0c1ec080" providerId="ADAL" clId="{4AF47F8C-4D02-475B-BCB6-94F85FB552D2}" dt="2021-01-11T02:04:54.362" v="22" actId="2696"/>
          <pc:sldLayoutMkLst>
            <pc:docMk/>
            <pc:sldMasterMk cId="3519943653" sldId="2147483679"/>
            <pc:sldLayoutMk cId="2630461428" sldId="2147483687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BCBD68-2185-40C3-B1F8-DE3555676901}" type="datetimeFigureOut">
              <a:rPr lang="en-US" smtClean="0"/>
              <a:t>1/10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851C03-59F6-421E-98C8-178B12B237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53421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851C03-59F6-421E-98C8-178B12B237C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185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763520"/>
            <a:ext cx="9144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419600"/>
            <a:ext cx="9144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4F584-CE71-42A3-9E23-B7349753629C}" type="datetime1">
              <a:rPr lang="en-US"/>
              <a:t>1/10/2021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0C76D9A-9B03-4343-AD7D-929CD7D56B38}"/>
              </a:ext>
            </a:extLst>
          </p:cNvPr>
          <p:cNvGrpSpPr/>
          <p:nvPr userDrawn="1"/>
        </p:nvGrpSpPr>
        <p:grpSpPr>
          <a:xfrm>
            <a:off x="10831156" y="6337980"/>
            <a:ext cx="1149178" cy="360000"/>
            <a:chOff x="6573184" y="4332396"/>
            <a:chExt cx="1148879" cy="3600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5B75497-D2F7-4F80-AA53-C05A79BC9B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73184" y="4349495"/>
              <a:ext cx="565804" cy="3384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A77120A-15AA-4F29-8C6E-6F71F4ABF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62063" y="4332396"/>
              <a:ext cx="360000" cy="360000"/>
            </a:xfrm>
            <a:prstGeom prst="rect">
              <a:avLst/>
            </a:prstGeom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73695E4-05B0-4B3E-887B-2FCCECEA428D}"/>
                </a:ext>
              </a:extLst>
            </p:cNvPr>
            <p:cNvCxnSpPr>
              <a:cxnSpLocks/>
            </p:cNvCxnSpPr>
            <p:nvPr/>
          </p:nvCxnSpPr>
          <p:spPr>
            <a:xfrm>
              <a:off x="7242216" y="4332396"/>
              <a:ext cx="0" cy="352800"/>
            </a:xfrm>
            <a:prstGeom prst="line">
              <a:avLst/>
            </a:prstGeom>
            <a:ln w="3810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3672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DA002-A9F7-4025-93E2-3CE42C904922}" type="datetime1">
              <a:rPr lang="en-US"/>
              <a:t>1/10/2021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741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2439AC7-8A6B-4CA9-B4F1-FE8392EC9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7670087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98" imgH="499" progId="TCLayout.ActiveDocument.1">
                  <p:embed/>
                </p:oleObj>
              </mc:Choice>
              <mc:Fallback>
                <p:oleObj name="think-cell Slide" r:id="rId7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2439AC7-8A6B-4CA9-B4F1-FE8392EC91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8C8893-0817-4C22-AFFC-A8D175B81892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</a:pPr>
            <a:endParaRPr lang="en-US" sz="2800" b="0" i="0" baseline="0">
              <a:latin typeface="HP Simplified Light" panose="020B0406020204020204" pitchFamily="34" charset="0"/>
              <a:ea typeface="+mj-ea"/>
              <a:cs typeface="+mj-cs"/>
              <a:sym typeface="HP Simplified Light" panose="020B04060202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95401"/>
            <a:ext cx="10972801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283201" y="6478524"/>
            <a:ext cx="812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4D5A803B-2411-42AB-9040-AFD04F46E49C}" type="datetime1">
              <a:rPr lang="en-US" smtClean="0"/>
              <a:t>1/1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478524"/>
            <a:ext cx="457319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67" y="6478524"/>
            <a:ext cx="3048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72C57C-68EE-4057-808B-383596351EA1}"/>
              </a:ext>
            </a:extLst>
          </p:cNvPr>
          <p:cNvGrpSpPr/>
          <p:nvPr userDrawn="1"/>
        </p:nvGrpSpPr>
        <p:grpSpPr>
          <a:xfrm>
            <a:off x="10831156" y="6337980"/>
            <a:ext cx="1149178" cy="360000"/>
            <a:chOff x="6573184" y="4332396"/>
            <a:chExt cx="1148879" cy="360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232E83F-DEE2-460C-860F-381CF38386C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73184" y="4349495"/>
              <a:ext cx="565804" cy="3384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9E36616-257A-4ED3-A87B-ADFD8CB106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62063" y="4332396"/>
              <a:ext cx="360000" cy="360000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39182EA-FDFF-441F-A54A-F7899E8731A3}"/>
                </a:ext>
              </a:extLst>
            </p:cNvPr>
            <p:cNvCxnSpPr>
              <a:cxnSpLocks/>
            </p:cNvCxnSpPr>
            <p:nvPr/>
          </p:nvCxnSpPr>
          <p:spPr>
            <a:xfrm>
              <a:off x="7242216" y="4332396"/>
              <a:ext cx="0" cy="352800"/>
            </a:xfrm>
            <a:prstGeom prst="line">
              <a:avLst/>
            </a:prstGeom>
            <a:ln w="38100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19943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orient="horz" pos="4200">
          <p15:clr>
            <a:srgbClr val="F26B43"/>
          </p15:clr>
        </p15:guide>
        <p15:guide id="3" orient="horz" pos="39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harsh.shah@hp.com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w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Microsoft_Word_Document.docx"/><Relationship Id="rId11" Type="http://schemas.openxmlformats.org/officeDocument/2006/relationships/hyperlink" Target="mailto:sehorewa@amazon.com" TargetMode="External"/><Relationship Id="rId5" Type="http://schemas.openxmlformats.org/officeDocument/2006/relationships/hyperlink" Target="mailto:dragos.barabula@hp.com" TargetMode="External"/><Relationship Id="rId10" Type="http://schemas.openxmlformats.org/officeDocument/2006/relationships/hyperlink" Target="mailto:mahindc@amazon.com" TargetMode="External"/><Relationship Id="rId4" Type="http://schemas.openxmlformats.org/officeDocument/2006/relationships/image" Target="../media/image5.png"/><Relationship Id="rId9" Type="http://schemas.openxmlformats.org/officeDocument/2006/relationships/hyperlink" Target="mailto:aloysius-raja.p@hp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0F7B53A-51F6-414F-A48C-8A409C161702}"/>
              </a:ext>
            </a:extLst>
          </p:cNvPr>
          <p:cNvSpPr/>
          <p:nvPr/>
        </p:nvSpPr>
        <p:spPr>
          <a:xfrm>
            <a:off x="923621" y="3565540"/>
            <a:ext cx="5338032" cy="4708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72D7BC-DE60-4A18-AF97-06E6792E2C6A}"/>
              </a:ext>
            </a:extLst>
          </p:cNvPr>
          <p:cNvSpPr/>
          <p:nvPr/>
        </p:nvSpPr>
        <p:spPr>
          <a:xfrm>
            <a:off x="6367045" y="3565540"/>
            <a:ext cx="5023198" cy="4708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01C627-5C14-4F96-AF07-C980A35B6A15}"/>
              </a:ext>
            </a:extLst>
          </p:cNvPr>
          <p:cNvSpPr/>
          <p:nvPr/>
        </p:nvSpPr>
        <p:spPr>
          <a:xfrm>
            <a:off x="923621" y="1294914"/>
            <a:ext cx="5338032" cy="4708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Arial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4A3B2C9-0E8A-412F-ADC0-4424ED700A85}"/>
              </a:ext>
            </a:extLst>
          </p:cNvPr>
          <p:cNvSpPr txBox="1">
            <a:spLocks/>
          </p:cNvSpPr>
          <p:nvPr/>
        </p:nvSpPr>
        <p:spPr>
          <a:xfrm>
            <a:off x="1029012" y="1350931"/>
            <a:ext cx="2955862" cy="4942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075" rtl="0" eaLnBrk="1" latinLnBrk="0" hangingPunct="1">
              <a:lnSpc>
                <a:spcPct val="85000"/>
              </a:lnSpc>
              <a:spcBef>
                <a:spcPct val="0"/>
              </a:spcBef>
              <a:buNone/>
              <a:tabLst>
                <a:tab pos="2226650" algn="l"/>
              </a:tabLst>
              <a:defRPr sz="2799" b="1" i="0" kern="1200" spc="-51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/>
              </a:defRPr>
            </a:lvl1pPr>
          </a:lstStyle>
          <a:p>
            <a:pPr marL="0" marR="0" lvl="0" indent="0" algn="l" defTabSz="457075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26650" algn="l"/>
              </a:tabLst>
              <a:defRPr/>
            </a:pPr>
            <a:r>
              <a:rPr kumimoji="0" lang="en-US" sz="2400" b="1" i="0" u="none" strike="noStrike" kern="1200" cap="none" spc="-51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P Simplified Light" panose="020B0404020204020204" pitchFamily="34" charset="0"/>
                <a:ea typeface="Calibri"/>
                <a:cs typeface="Arial" panose="020B0604020202020204" pitchFamily="34" charset="0"/>
              </a:rPr>
              <a:t>Project Objective</a:t>
            </a:r>
            <a:endParaRPr kumimoji="0" lang="en-US" sz="2400" b="1" i="0" u="none" strike="noStrike" kern="1200" cap="none" spc="-51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HP Simplified Light" panose="020B0404020204020204" pitchFamily="34" charset="0"/>
              <a:ea typeface="+mj-ea"/>
              <a:cs typeface="Arial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BEC6C15-DA01-485E-9530-DB61AA17DE39}"/>
              </a:ext>
            </a:extLst>
          </p:cNvPr>
          <p:cNvSpPr txBox="1">
            <a:spLocks/>
          </p:cNvSpPr>
          <p:nvPr/>
        </p:nvSpPr>
        <p:spPr>
          <a:xfrm>
            <a:off x="923621" y="1724105"/>
            <a:ext cx="5377310" cy="1315597"/>
          </a:xfrm>
          <a:prstGeom prst="rect">
            <a:avLst/>
          </a:prstGeom>
        </p:spPr>
        <p:txBody>
          <a:bodyPr anchor="t"/>
          <a:lstStyle>
            <a:lvl1pPr marL="0" indent="0" algn="l" defTabSz="457075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4578" indent="-174578" algn="l" defTabSz="457075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632" indent="-165055" algn="l" defTabSz="457075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622" indent="-172991" algn="l" defTabSz="457075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199" indent="-174578" algn="l" defTabSz="457075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3909" indent="-228538" algn="l" defTabSz="45707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84" indent="-228538" algn="l" defTabSz="45707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57" indent="-228538" algn="l" defTabSz="45707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131" indent="-228538" algn="l" defTabSz="45707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0000"/>
                </a:solidFill>
                <a:latin typeface="HP Simplified Light" panose="020B0404020204020204" pitchFamily="34" charset="0"/>
              </a:rPr>
              <a:t>Build an Chatbot for customer interactio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Arial"/>
              </a:rPr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HP Simplified Light" panose="020B0404020204020204" pitchFamily="34" charset="0"/>
              </a:rPr>
              <a:t>Customer to interact with interactive Chatbot for seeking various information's on HP product like order status, product and pricing questions like new product details/specifications, compare production with specifications and price, browse product by category etc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2650B8F-DA4B-4556-9746-AFEBC6BFAA11}"/>
              </a:ext>
            </a:extLst>
          </p:cNvPr>
          <p:cNvSpPr txBox="1">
            <a:spLocks/>
          </p:cNvSpPr>
          <p:nvPr/>
        </p:nvSpPr>
        <p:spPr>
          <a:xfrm>
            <a:off x="6508744" y="3668875"/>
            <a:ext cx="1350315" cy="5504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ct val="0"/>
              </a:spcBef>
              <a:buNone/>
              <a:tabLst>
                <a:tab pos="2227263" algn="l"/>
              </a:tabLst>
              <a:defRPr sz="2800" b="1" i="0" kern="1200" spc="-5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P Simplified Light" panose="020B0404020204020204" pitchFamily="34" charset="0"/>
                <a:ea typeface="+mj-ea"/>
                <a:cs typeface="Arial" panose="020B0604020202020204" pitchFamily="34" charset="0"/>
              </a:rPr>
              <a:t>Benefits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HP Simplified Light" panose="020B0404020204020204" pitchFamily="34" charset="0"/>
              <a:ea typeface="+mj-ea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280072-F037-4159-AD42-CE501A2D78FF}"/>
              </a:ext>
            </a:extLst>
          </p:cNvPr>
          <p:cNvSpPr txBox="1">
            <a:spLocks/>
          </p:cNvSpPr>
          <p:nvPr/>
        </p:nvSpPr>
        <p:spPr>
          <a:xfrm>
            <a:off x="1029012" y="3668875"/>
            <a:ext cx="4795943" cy="4942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ct val="0"/>
              </a:spcBef>
              <a:buNone/>
              <a:tabLst>
                <a:tab pos="2227263" algn="l"/>
              </a:tabLst>
              <a:defRPr sz="2800" b="1" i="0" kern="1200" spc="-5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P Simplified Light" panose="020B0404020204020204" pitchFamily="34" charset="0"/>
                <a:ea typeface="+mj-ea"/>
                <a:cs typeface="Arial" panose="020B0604020202020204" pitchFamily="34" charset="0"/>
              </a:rPr>
              <a:t>Proposed Requirements/Solution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B6B02186-FD0A-4540-9BA7-901F077C2572}"/>
              </a:ext>
            </a:extLst>
          </p:cNvPr>
          <p:cNvSpPr txBox="1">
            <a:spLocks/>
          </p:cNvSpPr>
          <p:nvPr/>
        </p:nvSpPr>
        <p:spPr>
          <a:xfrm>
            <a:off x="927721" y="892676"/>
            <a:ext cx="10458416" cy="9162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ct val="0"/>
              </a:spcBef>
              <a:buNone/>
              <a:tabLst>
                <a:tab pos="2227263" algn="l"/>
              </a:tabLst>
              <a:defRPr sz="2800" b="1" i="0" kern="1200" spc="-5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/>
              </a:defRPr>
            </a:lvl1pPr>
          </a:lstStyle>
          <a:p>
            <a:pPr lvl="0">
              <a:defRPr/>
            </a:pPr>
            <a:r>
              <a:rPr lang="en-US" sz="2000" dirty="0">
                <a:solidFill>
                  <a:srgbClr val="0070C0"/>
                </a:solidFill>
                <a:latin typeface="HP Simplified Light" panose="020B0404020204020204" pitchFamily="34" charset="0"/>
              </a:rPr>
              <a:t>Chatbot for customer interaction on HP2B</a:t>
            </a:r>
            <a:endParaRPr kumimoji="0" lang="en-US" sz="2000" b="1" i="0" u="none" strike="noStrike" kern="1200" cap="none" spc="-5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HP Simplified Light" panose="020B0404020204020204" pitchFamily="34" charset="0"/>
              <a:ea typeface="+mj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A67FC72-BDD2-424F-BD2C-96B2CC3E6204}"/>
              </a:ext>
            </a:extLst>
          </p:cNvPr>
          <p:cNvSpPr txBox="1">
            <a:spLocks/>
          </p:cNvSpPr>
          <p:nvPr/>
        </p:nvSpPr>
        <p:spPr>
          <a:xfrm>
            <a:off x="952562" y="4162420"/>
            <a:ext cx="5309092" cy="21973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19E4CA-7067-4829-85A2-EE7F79E9492B}"/>
              </a:ext>
            </a:extLst>
          </p:cNvPr>
          <p:cNvSpPr/>
          <p:nvPr/>
        </p:nvSpPr>
        <p:spPr>
          <a:xfrm>
            <a:off x="596346" y="216437"/>
            <a:ext cx="98663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HP AWS Bot-a-Th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EB90F6-1EB1-4EC1-B27B-3A6F3D47E583}"/>
              </a:ext>
            </a:extLst>
          </p:cNvPr>
          <p:cNvSpPr/>
          <p:nvPr/>
        </p:nvSpPr>
        <p:spPr>
          <a:xfrm>
            <a:off x="6391261" y="1294914"/>
            <a:ext cx="5023197" cy="4708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Arial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EB8BA69-262C-4638-9258-F40E8153988C}"/>
              </a:ext>
            </a:extLst>
          </p:cNvPr>
          <p:cNvSpPr txBox="1">
            <a:spLocks/>
          </p:cNvSpPr>
          <p:nvPr/>
        </p:nvSpPr>
        <p:spPr>
          <a:xfrm>
            <a:off x="6549941" y="1438356"/>
            <a:ext cx="1350315" cy="3378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ct val="0"/>
              </a:spcBef>
              <a:buNone/>
              <a:tabLst>
                <a:tab pos="2227263" algn="l"/>
              </a:tabLst>
              <a:defRPr sz="2800" b="1" i="0" kern="1200" spc="-5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P Simplified Light" panose="020B0404020204020204" pitchFamily="34" charset="0"/>
                <a:ea typeface="+mj-ea"/>
                <a:cs typeface="Arial" panose="020B0604020202020204" pitchFamily="34" charset="0"/>
              </a:rPr>
              <a:t>SME/Coach</a:t>
            </a:r>
            <a:endParaRPr kumimoji="0" lang="en-US" sz="2400" b="1" i="0" u="none" strike="noStrike" kern="1200" cap="none" spc="-5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HP Simplified Light" panose="020B0404020204020204" pitchFamily="34" charset="0"/>
              <a:ea typeface="+mj-ea"/>
              <a:cs typeface="Arial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AADF450-7528-4565-B04E-8F521CD951B2}"/>
              </a:ext>
            </a:extLst>
          </p:cNvPr>
          <p:cNvSpPr/>
          <p:nvPr/>
        </p:nvSpPr>
        <p:spPr>
          <a:xfrm>
            <a:off x="8692268" y="148099"/>
            <a:ext cx="2001079" cy="48714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Arial"/>
              </a:rPr>
              <a:t>Project # 1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D8C018B-9EC5-46A7-AA28-FD630CCF439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1501419" y="148099"/>
            <a:ext cx="445605" cy="540624"/>
          </a:xfrm>
          <a:prstGeom prst="rect">
            <a:avLst/>
          </a:prstGeom>
        </p:spPr>
      </p:pic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DADE29FC-F55B-4FB7-ABD5-BF51EC134484}"/>
              </a:ext>
            </a:extLst>
          </p:cNvPr>
          <p:cNvSpPr txBox="1">
            <a:spLocks/>
          </p:cNvSpPr>
          <p:nvPr/>
        </p:nvSpPr>
        <p:spPr>
          <a:xfrm>
            <a:off x="1094261" y="4102451"/>
            <a:ext cx="5309092" cy="9162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200" dirty="0">
                <a:solidFill>
                  <a:srgbClr val="000000"/>
                </a:solidFill>
                <a:latin typeface="HP Simplified Light" panose="020B0404020204020204" pitchFamily="34" charset="0"/>
              </a:rPr>
              <a:t>Automate customer interactions for retrieving information and providing the right and accurate information on product details and order status, create purchase order</a:t>
            </a:r>
          </a:p>
          <a:p>
            <a:pPr lvl="0">
              <a:defRPr/>
            </a:pPr>
            <a:r>
              <a:rPr lang="en-US" sz="1200" dirty="0">
                <a:solidFill>
                  <a:srgbClr val="000000"/>
                </a:solidFill>
                <a:latin typeface="HP Simplified Light" panose="020B0404020204020204" pitchFamily="34" charset="0"/>
              </a:rPr>
              <a:t>Initiate product/pricing/address changes via Chatbo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A6AE69-770C-4FBF-A291-F41BA539E4D7}"/>
              </a:ext>
            </a:extLst>
          </p:cNvPr>
          <p:cNvSpPr txBox="1"/>
          <p:nvPr/>
        </p:nvSpPr>
        <p:spPr>
          <a:xfrm>
            <a:off x="6362940" y="4036394"/>
            <a:ext cx="50231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HP Simplified Light" panose="020B0404020204020204" pitchFamily="34" charset="0"/>
              </a:rPr>
              <a:t>Intended Benefits:   Reduce tasks to be managed by human resources, accelerate info exchange between customer &amp; HP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HP Simplified Light" panose="020B0404020204020204" pitchFamily="34" charset="0"/>
              </a:rPr>
              <a:t>User Story: Customer initiates service request via Chatbot on HP2B.  Customers are authenticated enabling HP to tailor messaging/info to custom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50E547F-B161-4B42-A6B8-893A97A33473}"/>
              </a:ext>
            </a:extLst>
          </p:cNvPr>
          <p:cNvSpPr/>
          <p:nvPr/>
        </p:nvSpPr>
        <p:spPr>
          <a:xfrm>
            <a:off x="923621" y="5627726"/>
            <a:ext cx="5338032" cy="4708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Arial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19FFCB6A-A3A3-494E-86C4-CB31AD014D2A}"/>
              </a:ext>
            </a:extLst>
          </p:cNvPr>
          <p:cNvSpPr txBox="1">
            <a:spLocks/>
          </p:cNvSpPr>
          <p:nvPr/>
        </p:nvSpPr>
        <p:spPr>
          <a:xfrm>
            <a:off x="1029012" y="5731061"/>
            <a:ext cx="4795943" cy="4942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ct val="0"/>
              </a:spcBef>
              <a:buNone/>
              <a:tabLst>
                <a:tab pos="2227263" algn="l"/>
              </a:tabLst>
              <a:defRPr sz="2800" b="1" i="0" kern="1200" spc="-5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P Simplified Light" panose="020B0404020204020204" pitchFamily="34" charset="0"/>
                <a:ea typeface="+mj-ea"/>
                <a:cs typeface="Arial" panose="020B0604020202020204" pitchFamily="34" charset="0"/>
              </a:rPr>
              <a:t>AWS Product to be used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F0FEE56-5187-498E-9EF7-5CB4E3F4FCC0}"/>
              </a:ext>
            </a:extLst>
          </p:cNvPr>
          <p:cNvSpPr txBox="1">
            <a:spLocks/>
          </p:cNvSpPr>
          <p:nvPr/>
        </p:nvSpPr>
        <p:spPr>
          <a:xfrm>
            <a:off x="981503" y="6249477"/>
            <a:ext cx="5309092" cy="3920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4625" indent="-174625" algn="l" defTabSz="4572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20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339725" indent="-1651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512763" indent="-173038" algn="l" defTabSz="457200" rtl="0" eaLnBrk="1" latinLnBrk="0" hangingPunct="1">
              <a:spcBef>
                <a:spcPts val="200"/>
              </a:spcBef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87388" indent="-174625" algn="l" defTabSz="457200" rtl="0" eaLnBrk="1" latinLnBrk="0" hangingPunct="1">
              <a:spcBef>
                <a:spcPts val="100"/>
              </a:spcBef>
              <a:buClr>
                <a:schemeClr val="accent1"/>
              </a:buClr>
              <a:buFont typeface="Lucida Grande"/>
              <a:buChar char="-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200" dirty="0">
                <a:solidFill>
                  <a:srgbClr val="000000"/>
                </a:solidFill>
                <a:latin typeface="HP Simplified Light" panose="020B0404020204020204" pitchFamily="34" charset="0"/>
              </a:rPr>
              <a:t>app sync, dynamo DB, s3, Cognito, lambda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2E391FE-7E16-4B4D-B0CC-4A6655992AF5}"/>
              </a:ext>
            </a:extLst>
          </p:cNvPr>
          <p:cNvSpPr/>
          <p:nvPr/>
        </p:nvSpPr>
        <p:spPr>
          <a:xfrm>
            <a:off x="6261652" y="1845226"/>
            <a:ext cx="204506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600" b="1" i="1" dirty="0">
                <a:solidFill>
                  <a:prstClr val="black"/>
                </a:solidFill>
                <a:latin typeface="HP Simplified Light" panose="020B0404020204020204" pitchFamily="34" charset="0"/>
              </a:rPr>
              <a:t>Dragos Barabula</a:t>
            </a:r>
          </a:p>
          <a:p>
            <a:pPr lvl="0" algn="ctr">
              <a:defRPr/>
            </a:pPr>
            <a:r>
              <a:rPr lang="en-US" sz="1200" dirty="0">
                <a:solidFill>
                  <a:prstClr val="black"/>
                </a:solidFill>
                <a:latin typeface="HP Simplified Light" panose="020B0404020204020204" pitchFamily="34" charset="0"/>
              </a:rPr>
              <a:t>Subject Matter Exper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lang="en-GB" sz="1200" dirty="0">
                <a:hlinkClick r:id="rId5"/>
              </a:rPr>
              <a:t>dragos.barabula@hp.com</a:t>
            </a:r>
            <a:endParaRPr lang="en-GB" sz="1200" dirty="0"/>
          </a:p>
          <a:p>
            <a:pPr algn="ctr">
              <a:defRPr/>
            </a:pPr>
            <a:r>
              <a:rPr lang="en-GB" sz="1200" dirty="0"/>
              <a:t>Barcelona, Spain</a:t>
            </a:r>
          </a:p>
          <a:p>
            <a:pPr lvl="0" algn="ctr"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3ECB8B61-89C7-40A2-81F1-E72B2FBB3B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70274151"/>
              </p:ext>
            </p:extLst>
          </p:nvPr>
        </p:nvGraphicFramePr>
        <p:xfrm>
          <a:off x="8210550" y="5572513"/>
          <a:ext cx="1447800" cy="12768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ocument" showAsIcon="1" r:id="rId6" imgW="914400" imgH="806400" progId="Word.Document.12">
                  <p:embed/>
                </p:oleObj>
              </mc:Choice>
              <mc:Fallback>
                <p:oleObj name="Document" showAsIcon="1" r:id="rId6" imgW="914400" imgH="806400" progId="Word.Document.12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3ECB8B61-89C7-40A2-81F1-E72B2FBB3B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210550" y="5572513"/>
                        <a:ext cx="1447800" cy="12768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7F4E66DD-8F82-4610-B67F-B51A0542FE89}"/>
              </a:ext>
            </a:extLst>
          </p:cNvPr>
          <p:cNvSpPr/>
          <p:nvPr/>
        </p:nvSpPr>
        <p:spPr>
          <a:xfrm>
            <a:off x="8635817" y="1845226"/>
            <a:ext cx="2632562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600" b="1" i="1" dirty="0">
                <a:solidFill>
                  <a:prstClr val="black"/>
                </a:solidFill>
                <a:latin typeface="HP Simplified Light" panose="020B0404020204020204" pitchFamily="34" charset="0"/>
              </a:rPr>
              <a:t>Jagdishchandra Shah, Harsh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 Coach</a:t>
            </a:r>
          </a:p>
          <a:p>
            <a:pPr algn="ctr">
              <a:defRPr/>
            </a:pPr>
            <a:r>
              <a:rPr lang="en-GB" sz="1200" dirty="0">
                <a:hlinkClick r:id="rId8"/>
              </a:rPr>
              <a:t>harsh.shah@hp.com</a:t>
            </a:r>
            <a:endParaRPr lang="en-GB" sz="1200" dirty="0"/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Bangalore, Indi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CCBAB0-EDFC-4A4A-8CDF-EA80A066C8C0}"/>
              </a:ext>
            </a:extLst>
          </p:cNvPr>
          <p:cNvSpPr/>
          <p:nvPr/>
        </p:nvSpPr>
        <p:spPr>
          <a:xfrm>
            <a:off x="6003255" y="2728853"/>
            <a:ext cx="2632562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600" b="1" i="1" dirty="0">
                <a:solidFill>
                  <a:prstClr val="black"/>
                </a:solidFill>
                <a:latin typeface="HP Simplified Light" panose="020B0404020204020204" pitchFamily="34" charset="0"/>
              </a:rPr>
              <a:t>P, Aloysius Raja (Aloy)</a:t>
            </a:r>
          </a:p>
          <a:p>
            <a:pPr lvl="0" algn="ctr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Coach</a:t>
            </a:r>
          </a:p>
          <a:p>
            <a:pPr algn="ctr">
              <a:defRPr/>
            </a:pPr>
            <a:r>
              <a:rPr lang="en-GB" sz="1200" dirty="0">
                <a:hlinkClick r:id="rId9"/>
              </a:rPr>
              <a:t>aloysius-raja.p@hp.com</a:t>
            </a:r>
            <a:endParaRPr lang="en-GB" sz="1200" dirty="0"/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Bangalore, Indi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7C0FC89-85E6-4560-BA0A-01F30FA53427}"/>
              </a:ext>
            </a:extLst>
          </p:cNvPr>
          <p:cNvSpPr/>
          <p:nvPr/>
        </p:nvSpPr>
        <p:spPr>
          <a:xfrm>
            <a:off x="7830987" y="2486278"/>
            <a:ext cx="263256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endParaRPr lang="en-US" sz="1600" b="1" i="1" dirty="0">
              <a:solidFill>
                <a:prstClr val="black"/>
              </a:solidFill>
              <a:latin typeface="HP Simplified Light" panose="020B0404020204020204" pitchFamily="34" charset="0"/>
            </a:endParaRPr>
          </a:p>
          <a:p>
            <a:pPr lvl="0" algn="ctr">
              <a:defRPr/>
            </a:pPr>
            <a:r>
              <a:rPr lang="en-US" sz="1600" b="1" i="1" dirty="0">
                <a:solidFill>
                  <a:prstClr val="black"/>
                </a:solidFill>
                <a:latin typeface="HP Simplified Light" panose="020B0404020204020204" pitchFamily="34" charset="0"/>
              </a:rPr>
              <a:t>Mahinder Chawla</a:t>
            </a:r>
          </a:p>
          <a:p>
            <a:pPr lvl="0" algn="ctr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Coach</a:t>
            </a:r>
          </a:p>
          <a:p>
            <a:pPr algn="ctr">
              <a:defRPr/>
            </a:pPr>
            <a:r>
              <a:rPr lang="en-GB" sz="1200" dirty="0">
                <a:hlinkClick r:id="rId10"/>
              </a:rPr>
              <a:t>mahindc@amazon.com</a:t>
            </a:r>
            <a:endParaRPr lang="en-GB" sz="1200" dirty="0"/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Virginia, US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B6B6A0-1B40-4207-A94B-44FFA43F1AFD}"/>
              </a:ext>
            </a:extLst>
          </p:cNvPr>
          <p:cNvSpPr/>
          <p:nvPr/>
        </p:nvSpPr>
        <p:spPr>
          <a:xfrm>
            <a:off x="9476368" y="2471907"/>
            <a:ext cx="263256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endParaRPr lang="en-US" sz="1600" b="1" i="1" dirty="0">
              <a:solidFill>
                <a:prstClr val="black"/>
              </a:solidFill>
              <a:latin typeface="HP Simplified Light" panose="020B0404020204020204" pitchFamily="34" charset="0"/>
            </a:endParaRPr>
          </a:p>
          <a:p>
            <a:pPr lvl="0" algn="ctr">
              <a:defRPr/>
            </a:pPr>
            <a:r>
              <a:rPr lang="en-US" sz="1600" b="1" i="1" dirty="0">
                <a:solidFill>
                  <a:prstClr val="black"/>
                </a:solidFill>
                <a:latin typeface="HP Simplified Light" panose="020B0404020204020204" pitchFamily="34" charset="0"/>
              </a:rPr>
              <a:t>Hussain Sehorewala</a:t>
            </a:r>
          </a:p>
          <a:p>
            <a:pPr lvl="0" algn="ctr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Coach</a:t>
            </a:r>
          </a:p>
          <a:p>
            <a:pPr algn="ctr">
              <a:defRPr/>
            </a:pPr>
            <a:r>
              <a:rPr lang="en-GB" sz="1200" dirty="0">
                <a:hlinkClick r:id="rId11"/>
              </a:rPr>
              <a:t>sehorewa@amazon.com</a:t>
            </a:r>
            <a:endParaRPr lang="en-GB" sz="1200" dirty="0"/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Seattle, US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813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AFZZPjIstzoCLF.kQRWw"/>
</p:tagLst>
</file>

<file path=ppt/theme/theme1.xml><?xml version="1.0" encoding="utf-8"?>
<a:theme xmlns:a="http://schemas.openxmlformats.org/drawingml/2006/main" name="HP Standard 16x9 v4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6B3A97"/>
      </a:accent2>
      <a:accent3>
        <a:srgbClr val="87898B"/>
      </a:accent3>
      <a:accent4>
        <a:srgbClr val="99D5EF"/>
      </a:accent4>
      <a:accent5>
        <a:srgbClr val="B49CCA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 Light">
      <a:majorFont>
        <a:latin typeface="HP Simplified Light"/>
        <a:ea typeface=""/>
        <a:cs typeface=""/>
      </a:majorFont>
      <a:minorFont>
        <a:latin typeface="HP Simplifie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Red">
      <a:srgbClr val="C03854"/>
    </a:custClr>
    <a:custClr name="75% Red">
      <a:srgbClr val="D06A7F"/>
    </a:custClr>
    <a:custClr name="50% Red">
      <a:srgbClr val="DF9BA9"/>
    </a:custClr>
    <a:custClr name="25% Red">
      <a:srgbClr val="EECCD3"/>
    </a:custClr>
    <a:custClr name="Orange">
      <a:srgbClr val="E98233"/>
    </a:custClr>
    <a:custClr name="75% Orange">
      <a:srgbClr val="EEA166"/>
    </a:custClr>
    <a:custClr name="50% Orange">
      <a:srgbClr val="F3C098"/>
    </a:custClr>
    <a:custClr name="25% Orange">
      <a:srgbClr val="F9DFCB"/>
    </a:custClr>
  </a:custClrLst>
  <a:extLst>
    <a:ext uri="{05A4C25C-085E-4340-85A3-A5531E510DB2}">
      <thm15:themeFamily xmlns:thm15="http://schemas.microsoft.com/office/thememl/2012/main" name="Presentation3" id="{E4A05F7F-6CA7-44FD-98AF-D1D39C76C6D6}" vid="{2C77C309-9C24-4FAD-B784-5FBEFCCE6CF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B323CAB3F2E44CA0C8E1C2E0B2E83A" ma:contentTypeVersion="12" ma:contentTypeDescription="Create a new document." ma:contentTypeScope="" ma:versionID="451ce3bce278741d26b606f3138c4f74">
  <xsd:schema xmlns:xsd="http://www.w3.org/2001/XMLSchema" xmlns:xs="http://www.w3.org/2001/XMLSchema" xmlns:p="http://schemas.microsoft.com/office/2006/metadata/properties" xmlns:ns2="7af9d02f-4d25-4caa-bcaf-19bba07d983b" xmlns:ns3="0862f318-0f3d-403b-ab35-2ad8fd149c1e" targetNamespace="http://schemas.microsoft.com/office/2006/metadata/properties" ma:root="true" ma:fieldsID="2a6c816e4d8c0e898c34f0c357bd6a57" ns2:_="" ns3:_="">
    <xsd:import namespace="7af9d02f-4d25-4caa-bcaf-19bba07d983b"/>
    <xsd:import namespace="0862f318-0f3d-403b-ab35-2ad8fd149c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f9d02f-4d25-4caa-bcaf-19bba07d98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62f318-0f3d-403b-ab35-2ad8fd149c1e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6EFE4F-B30F-401A-9F3B-3024E4B8157F}"/>
</file>

<file path=customXml/itemProps2.xml><?xml version="1.0" encoding="utf-8"?>
<ds:datastoreItem xmlns:ds="http://schemas.openxmlformats.org/officeDocument/2006/customXml" ds:itemID="{96DF8A22-408F-4F95-BA8D-2CF012B9677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B33FED6-DD1F-4A79-894C-F72CB8CB68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97</TotalTime>
  <Words>232</Words>
  <Application>Microsoft Office PowerPoint</Application>
  <PresentationFormat>Widescreen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HP Simplified</vt:lpstr>
      <vt:lpstr>HP Simplified Light</vt:lpstr>
      <vt:lpstr>HP Standard 16x9 v4</vt:lpstr>
      <vt:lpstr>think-cell Slide</vt:lpstr>
      <vt:lpstr>Documen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, Dinesh Shetty</dc:creator>
  <cp:lastModifiedBy>Baral, Partha (Transformation Organization)</cp:lastModifiedBy>
  <cp:revision>258</cp:revision>
  <dcterms:created xsi:type="dcterms:W3CDTF">2020-06-19T15:24:33Z</dcterms:created>
  <dcterms:modified xsi:type="dcterms:W3CDTF">2021-01-11T02:0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B323CAB3F2E44CA0C8E1C2E0B2E83A</vt:lpwstr>
  </property>
</Properties>
</file>